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19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281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Playfair Display SemiBold" panose="020B0604020202020204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5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6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85" Type="http://customschemas.google.com/relationships/presentationmetadata" Target="meta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89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90" Type="http://schemas.microsoft.com/office/2018/10/relationships/authors" Target="author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86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/Relationships>
</file>

<file path=ppt/comments/modernComment_119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92BBB3C-BAAD-4869-9C94-43CC957B68E7}" authorId="{EC28B4B0-6701-2EAD-4AFD-41CFFF8EDE08}" created="2025-05-19T21:25:09.9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81"/>
      <ac:graphicFrameMk id="564" creationId="{00000000-0000-0000-0000-000000000000}"/>
    </ac:deMkLst>
    <p188:txBody>
      <a:bodyPr/>
      <a:lstStyle/>
      <a:p>
        <a:r>
          <a:rPr lang="en-US"/>
          <a:t>Sort by impact on kpmg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g2ecbd9d9bc7_0_5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61" name="Google Shape;561;g2ecbd9d9bc7_0_5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9_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g2ecbd9d9bc7_0_568"/>
          <p:cNvSpPr txBox="1"/>
          <p:nvPr/>
        </p:nvSpPr>
        <p:spPr>
          <a:xfrm>
            <a:off x="7986433" y="1688658"/>
            <a:ext cx="10431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rioritized for further analysis</a:t>
            </a:r>
            <a:endParaRPr/>
          </a:p>
        </p:txBody>
      </p:sp>
      <p:graphicFrame>
        <p:nvGraphicFramePr>
          <p:cNvPr id="564" name="Google Shape;564;g2ecbd9d9bc7_0_568"/>
          <p:cNvGraphicFramePr/>
          <p:nvPr>
            <p:extLst>
              <p:ext uri="{D42A27DB-BD31-4B8C-83A1-F6EECF244321}">
                <p14:modId xmlns:p14="http://schemas.microsoft.com/office/powerpoint/2010/main" val="3222277117"/>
              </p:ext>
            </p:extLst>
          </p:nvPr>
        </p:nvGraphicFramePr>
        <p:xfrm>
          <a:off x="457200" y="1176567"/>
          <a:ext cx="7409775" cy="29833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13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8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8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9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rend</a:t>
                      </a:r>
                      <a:endParaRPr/>
                    </a:p>
                  </a:txBody>
                  <a:tcPr marL="12875" marR="12875" marT="8575" marB="8575" anchor="b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mpact on</a:t>
                      </a:r>
                      <a:b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</a:b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emiconductor industry</a:t>
                      </a:r>
                      <a:endParaRPr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mpact on</a:t>
                      </a:r>
                      <a:b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</a:br>
                      <a:r>
                        <a:rPr lang="en-US" sz="1200" b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KPMG’s business lines</a:t>
                      </a:r>
                      <a:endParaRPr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ographic diversification of supply chain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E90A6D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dustry recovery and normalization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creased cyberthreat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utomotive/semiconductor partnership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>
                        <a:alpha val="149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lent shortage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novations in manufacturing </a:t>
                      </a:r>
                      <a:r>
                        <a:rPr lang="en-US" sz="1000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&amp; </a:t>
                      </a:r>
                      <a:r>
                        <a:rPr lang="en-US" sz="1000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sign</a:t>
                      </a:r>
                      <a:r>
                        <a:rPr lang="en-US" sz="1000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 (incl. application of AI)</a:t>
                      </a:r>
                      <a:endParaRPr sz="1200" dirty="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dvanced node technologie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automotive sector (AV/EV)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edge computing</a:t>
                      </a:r>
                      <a:endParaRPr sz="10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5G / 6G</a:t>
                      </a:r>
                      <a:endParaRPr sz="10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00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mand growth from generative AI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SG and sustainability improvements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7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etaverse growth</a:t>
                      </a:r>
                      <a:endParaRPr sz="1200"/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u="none" strike="noStrike" cap="none" dirty="0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12875" marR="12875" marT="8575" marB="8575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62464B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565" name="Google Shape;565;g2ecbd9d9bc7_0_568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7" name="Google Shape;567;g2ecbd9d9bc7_0_568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68" name="Google Shape;568;g2ecbd9d9bc7_0_568"/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4 priority trends were identified based on impact on the industry and </a:t>
            </a:r>
            <a:b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</a:b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on KPMG’s business lines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594" name="Google Shape;594;g2ecbd9d9bc7_0_568"/>
          <p:cNvSpPr txBox="1"/>
          <p:nvPr/>
        </p:nvSpPr>
        <p:spPr>
          <a:xfrm>
            <a:off x="5366479" y="4307465"/>
            <a:ext cx="5991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High</a:t>
            </a:r>
            <a:endParaRPr/>
          </a:p>
        </p:txBody>
      </p:sp>
      <p:sp>
        <p:nvSpPr>
          <p:cNvPr id="595" name="Google Shape;595;g2ecbd9d9bc7_0_568"/>
          <p:cNvSpPr txBox="1"/>
          <p:nvPr/>
        </p:nvSpPr>
        <p:spPr>
          <a:xfrm>
            <a:off x="6248170" y="4307465"/>
            <a:ext cx="8592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edium</a:t>
            </a:r>
            <a:endParaRPr/>
          </a:p>
        </p:txBody>
      </p:sp>
      <p:sp>
        <p:nvSpPr>
          <p:cNvPr id="596" name="Google Shape;596;g2ecbd9d9bc7_0_568"/>
          <p:cNvSpPr txBox="1"/>
          <p:nvPr/>
        </p:nvSpPr>
        <p:spPr>
          <a:xfrm>
            <a:off x="7358366" y="4307465"/>
            <a:ext cx="5400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Low</a:t>
            </a:r>
            <a:endParaRPr/>
          </a:p>
        </p:txBody>
      </p:sp>
      <p:cxnSp>
        <p:nvCxnSpPr>
          <p:cNvPr id="597" name="Google Shape;597;g2ecbd9d9bc7_0_568"/>
          <p:cNvCxnSpPr/>
          <p:nvPr/>
        </p:nvCxnSpPr>
        <p:spPr>
          <a:xfrm>
            <a:off x="7985240" y="1522935"/>
            <a:ext cx="0" cy="883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598" name="Google Shape;598;g2ecbd9d9bc7_0_568"/>
          <p:cNvSpPr txBox="1"/>
          <p:nvPr/>
        </p:nvSpPr>
        <p:spPr>
          <a:xfrm>
            <a:off x="362607" y="4168965"/>
            <a:ext cx="43434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mpact on semiconductor industry and relevance for KPMG’s business lines are based on qualitative analyses. Impact on semiconductor industry considers likelihood and impact of each trend</a:t>
            </a:r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599" name="Google Shape;599;g2ecbd9d9bc7_0_568"/>
          <p:cNvSpPr/>
          <p:nvPr/>
        </p:nvSpPr>
        <p:spPr>
          <a:xfrm>
            <a:off x="5092262" y="4276485"/>
            <a:ext cx="2806200" cy="3390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815E337D-3169-41CA-A1D6-DA373282F1FC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939D689B-3830-407C-98E3-2B7A4203564C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129</Words>
  <Application>Microsoft Office PowerPoint</Application>
  <PresentationFormat>On-screen Show (16:9)</PresentationFormat>
  <Paragraphs>2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Playfair Display SemiBold</vt:lpstr>
      <vt:lpstr>Arial</vt:lpstr>
      <vt:lpstr>Exo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8</cp:revision>
  <dcterms:modified xsi:type="dcterms:W3CDTF">2025-09-20T14:06:57Z</dcterms:modified>
</cp:coreProperties>
</file>